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7841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956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FD550FB-55C3-4A55-ACA5-E3056A19313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02" b="8402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3 M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x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Plot currently unknown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Untitled </a:t>
            </a:r>
            <a:r>
              <a:rPr lang="en-US" sz="2800" dirty="0" err="1"/>
              <a:t>Blumhouse</a:t>
            </a:r>
            <a:r>
              <a:rPr lang="en-US" sz="2800" dirty="0"/>
              <a:t> Projec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X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851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Untitled Blumhouse Projec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Untitled Blumhouse Project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Untitled Blumhouse Project</vt:lpwstr>
  </property>
</Properties>
</file>